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36EFA2-C5F5-440B-8D94-0C8D92B902F1}" v="1" dt="2022-08-25T07:28:03.900"/>
    <p1510:client id="{7E7C0C35-3231-440F-9CE5-8BD040BF40BE}" v="22" dt="2022-08-25T07:29:31.3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., Aliveluvari Sai Vamsi" userId="S::aliveluvari-sai-vamsi.aliveluvari-sai-vamsi@capgemini.com::cc3056a0-9713-40b8-a67d-b51a1bb4840e" providerId="AD" clId="Web-{7E7C0C35-3231-440F-9CE5-8BD040BF40BE}"/>
    <pc:docChg chg="modSld">
      <pc:chgData name="., Aliveluvari Sai Vamsi" userId="S::aliveluvari-sai-vamsi.aliveluvari-sai-vamsi@capgemini.com::cc3056a0-9713-40b8-a67d-b51a1bb4840e" providerId="AD" clId="Web-{7E7C0C35-3231-440F-9CE5-8BD040BF40BE}" dt="2022-08-25T07:29:25.387" v="19" actId="20577"/>
      <pc:docMkLst>
        <pc:docMk/>
      </pc:docMkLst>
      <pc:sldChg chg="modSp">
        <pc:chgData name="., Aliveluvari Sai Vamsi" userId="S::aliveluvari-sai-vamsi.aliveluvari-sai-vamsi@capgemini.com::cc3056a0-9713-40b8-a67d-b51a1bb4840e" providerId="AD" clId="Web-{7E7C0C35-3231-440F-9CE5-8BD040BF40BE}" dt="2022-08-25T07:29:25.387" v="19" actId="20577"/>
        <pc:sldMkLst>
          <pc:docMk/>
          <pc:sldMk cId="0" sldId="560"/>
        </pc:sldMkLst>
        <pc:spChg chg="mod">
          <ac:chgData name="., Aliveluvari Sai Vamsi" userId="S::aliveluvari-sai-vamsi.aliveluvari-sai-vamsi@capgemini.com::cc3056a0-9713-40b8-a67d-b51a1bb4840e" providerId="AD" clId="Web-{7E7C0C35-3231-440F-9CE5-8BD040BF40BE}" dt="2022-08-25T07:29:25.387" v="19" actId="20577"/>
          <ac:spMkLst>
            <pc:docMk/>
            <pc:sldMk cId="0" sldId="560"/>
            <ac:spMk id="7175" creationId="{BADEA8C0-D1A3-4608-9E63-683339DCC944}"/>
          </ac:spMkLst>
        </pc:spChg>
        <pc:spChg chg="mod">
          <ac:chgData name="., Aliveluvari Sai Vamsi" userId="S::aliveluvari-sai-vamsi.aliveluvari-sai-vamsi@capgemini.com::cc3056a0-9713-40b8-a67d-b51a1bb4840e" providerId="AD" clId="Web-{7E7C0C35-3231-440F-9CE5-8BD040BF40BE}" dt="2022-08-25T07:29:19.403" v="11" actId="20577"/>
          <ac:spMkLst>
            <pc:docMk/>
            <pc:sldMk cId="0" sldId="560"/>
            <ac:spMk id="7176" creationId="{943087BE-AA11-4C96-BA02-329B45C19DDE}"/>
          </ac:spMkLst>
        </pc:spChg>
      </pc:sldChg>
    </pc:docChg>
  </pc:docChgLst>
  <pc:docChgLst>
    <pc:chgData clId="Web-{7E7C0C35-3231-440F-9CE5-8BD040BF40BE}"/>
    <pc:docChg chg="modSld">
      <pc:chgData name="" userId="" providerId="" clId="Web-{7E7C0C35-3231-440F-9CE5-8BD040BF40BE}" dt="2022-08-25T07:28:59.745" v="0" actId="20577"/>
      <pc:docMkLst>
        <pc:docMk/>
      </pc:docMkLst>
      <pc:sldChg chg="modSp">
        <pc:chgData name="" userId="" providerId="" clId="Web-{7E7C0C35-3231-440F-9CE5-8BD040BF40BE}" dt="2022-08-25T07:28:59.745" v="0" actId="20577"/>
        <pc:sldMkLst>
          <pc:docMk/>
          <pc:sldMk cId="0" sldId="560"/>
        </pc:sldMkLst>
        <pc:spChg chg="mod">
          <ac:chgData name="" userId="" providerId="" clId="Web-{7E7C0C35-3231-440F-9CE5-8BD040BF40BE}" dt="2022-08-25T07:28:59.745" v="0" actId="20577"/>
          <ac:spMkLst>
            <pc:docMk/>
            <pc:sldMk cId="0" sldId="560"/>
            <ac:spMk id="7176" creationId="{943087BE-AA11-4C96-BA02-329B45C19DDE}"/>
          </ac:spMkLst>
        </pc:spChg>
      </pc:sldChg>
    </pc:docChg>
  </pc:docChgLst>
  <pc:docChgLst>
    <pc:chgData clId="Web-{7D36EFA2-C5F5-440B-8D94-0C8D92B902F1}"/>
    <pc:docChg chg="modSld">
      <pc:chgData name="" userId="" providerId="" clId="Web-{7D36EFA2-C5F5-440B-8D94-0C8D92B902F1}" dt="2022-08-25T07:28:03.900" v="0" actId="20577"/>
      <pc:docMkLst>
        <pc:docMk/>
      </pc:docMkLst>
      <pc:sldChg chg="modSp">
        <pc:chgData name="" userId="" providerId="" clId="Web-{7D36EFA2-C5F5-440B-8D94-0C8D92B902F1}" dt="2022-08-25T07:28:03.900" v="0" actId="20577"/>
        <pc:sldMkLst>
          <pc:docMk/>
          <pc:sldMk cId="0" sldId="560"/>
        </pc:sldMkLst>
        <pc:spChg chg="mod">
          <ac:chgData name="" userId="" providerId="" clId="Web-{7D36EFA2-C5F5-440B-8D94-0C8D92B902F1}" dt="2022-08-25T07:28:03.900" v="0" actId="20577"/>
          <ac:spMkLst>
            <pc:docMk/>
            <pc:sldMk cId="0" sldId="560"/>
            <ac:spMk id="7176" creationId="{943087BE-AA11-4C96-BA02-329B45C19DD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7/09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7/09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liveluvari-sai-vamsi.aliveluvari-sai-vamsi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6952"/>
            <a:ext cx="4008437" cy="3405436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050" b="1" dirty="0"/>
              <a:t>E-Commerce Shopping Cart Application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050" dirty="0"/>
              <a:t>Completed end to end case study of Shopping Cart Application along using Core Java , Spring Applications, Micro services, Front-end Technologies like HTML, CSS, </a:t>
            </a:r>
            <a:r>
              <a:rPr lang="en-IN" altLang="en-US" sz="1050" dirty="0" err="1"/>
              <a:t>Javascript</a:t>
            </a:r>
            <a:r>
              <a:rPr lang="en-IN" altLang="en-US" sz="1050" dirty="0"/>
              <a:t> ,React and NodeJS</a:t>
            </a:r>
            <a:endParaRPr lang="en-US" altLang="nl-NL" sz="105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50" b="1" dirty="0"/>
              <a:t>Design of Chat-Bot using Frontend and Backend Technologies</a:t>
            </a:r>
          </a:p>
          <a:p>
            <a:pPr>
              <a:lnSpc>
                <a:spcPct val="114000"/>
              </a:lnSpc>
            </a:pPr>
            <a:r>
              <a:rPr lang="en-US" sz="1050" dirty="0"/>
              <a:t>Designed a Chat-Bot along with the webpage where it is used to store the data entered by user and use it for further purpose.</a:t>
            </a:r>
            <a:endParaRPr lang="en-IN" sz="1050" dirty="0"/>
          </a:p>
          <a:p>
            <a:pPr>
              <a:lnSpc>
                <a:spcPct val="114000"/>
              </a:lnSpc>
            </a:pPr>
            <a:r>
              <a:rPr lang="en-IN" altLang="nl-NL" sz="1050" b="1" dirty="0"/>
              <a:t>HTML CSS JAVASCRIPT for web developers at Coursera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050" dirty="0"/>
              <a:t>Completed the course with 92.6% and Designed Shopping cart system and Webpage for Chat-Bot Project.</a:t>
            </a:r>
          </a:p>
          <a:p>
            <a:pPr eaLnBrk="1" hangingPunct="1">
              <a:lnSpc>
                <a:spcPct val="114000"/>
              </a:lnSpc>
            </a:pPr>
            <a:endParaRPr lang="en-IN" altLang="nl-NL" sz="1050" b="1" dirty="0"/>
          </a:p>
          <a:p>
            <a:pPr eaLnBrk="1" hangingPunct="1">
              <a:lnSpc>
                <a:spcPct val="114000"/>
              </a:lnSpc>
            </a:pPr>
            <a:endParaRPr lang="en-IN" altLang="en-US" sz="1050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40768"/>
            <a:ext cx="2374900" cy="234032"/>
          </a:xfrm>
        </p:spPr>
        <p:txBody>
          <a:bodyPr/>
          <a:lstStyle/>
          <a:p>
            <a:pPr eaLnBrk="1" hangingPunct="1"/>
            <a:r>
              <a:rPr lang="nl-NL" altLang="nl-NL"/>
              <a:t>Mumbai</a:t>
            </a:r>
          </a:p>
          <a:p>
            <a:pPr eaLnBrk="1" hangingPunct="1"/>
            <a:endParaRPr lang="nl-NL" altLang="nl-NL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11300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>
                <a:hlinkClick r:id="rId3"/>
              </a:rPr>
              <a:t>aliveluvari-sai-vamsi.aliveluvari-sai-vamsi@capgemini.com</a:t>
            </a:r>
            <a:r>
              <a:rPr lang="nl-NL" altLang="nl-NL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59696" y="1824433"/>
            <a:ext cx="2382837" cy="218283"/>
          </a:xfrm>
        </p:spPr>
        <p:txBody>
          <a:bodyPr/>
          <a:lstStyle/>
          <a:p>
            <a:pPr eaLnBrk="1" hangingPunct="1"/>
            <a:r>
              <a:rPr lang="nl-NL" altLang="nl-NL"/>
              <a:t>+91 6303776585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 vert="horz" lIns="0" tIns="0" rIns="0" bIns="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creating micro services with Spring boot, Spring Security, Spring Cloud, API Gateway, Eureka ser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200" dirty="0"/>
              <a:t>Hands on experience in Core Java, </a:t>
            </a:r>
            <a:r>
              <a:rPr lang="en-US" altLang="nl-NL" sz="1200" dirty="0" err="1"/>
              <a:t>NodeJs</a:t>
            </a:r>
            <a:r>
              <a:rPr lang="en-US" altLang="nl-NL" sz="1200" dirty="0"/>
              <a:t> and other Front-end Technolog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200" dirty="0"/>
              <a:t>Certified in AWS Cloud Practitioner and have good knowledge on </a:t>
            </a:r>
            <a:r>
              <a:rPr lang="en-US" altLang="nl-NL" sz="1200" dirty="0" err="1"/>
              <a:t>aws</a:t>
            </a:r>
            <a:r>
              <a:rPr lang="en-US" altLang="nl-NL" sz="1200" dirty="0"/>
              <a:t> services.</a:t>
            </a:r>
            <a:br>
              <a:rPr lang="en-US" altLang="nl-NL" sz="1200" dirty="0"/>
            </a:br>
            <a:endParaRPr lang="en-US" altLang="nl-NL" sz="1200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899"/>
            <a:ext cx="2717800" cy="626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/>
              <a:t>Bachelor of Technolog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Electronics and Communication Engineering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>
                <a:solidFill>
                  <a:srgbClr val="0070AD"/>
                </a:solidFill>
              </a:rPr>
            </a:br>
            <a:r>
              <a:rPr lang="en-US" altLang="nl-NL" sz="1200" b="1">
                <a:solidFill>
                  <a:srgbClr val="0070AD"/>
                </a:solidFill>
              </a:rPr>
              <a:t>Skills</a:t>
            </a:r>
            <a:endParaRPr lang="en-US" altLang="en-US" sz="1000"/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Core Java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/>
              <a:t>Spring Core</a:t>
            </a:r>
          </a:p>
          <a:p>
            <a:pPr>
              <a:lnSpc>
                <a:spcPct val="114000"/>
              </a:lnSpc>
            </a:pPr>
            <a:r>
              <a:rPr lang="en-US" altLang="en-US" sz="1000"/>
              <a:t>Spring Boot</a:t>
            </a:r>
          </a:p>
          <a:p>
            <a:pPr>
              <a:lnSpc>
                <a:spcPct val="114000"/>
              </a:lnSpc>
            </a:pPr>
            <a:r>
              <a:rPr lang="en-US" altLang="en-US" sz="1000">
                <a:latin typeface="Verdana"/>
                <a:ea typeface="Verdana"/>
              </a:rPr>
              <a:t>Python</a:t>
            </a:r>
          </a:p>
          <a:p>
            <a:pPr>
              <a:lnSpc>
                <a:spcPct val="113999"/>
              </a:lnSpc>
            </a:pPr>
            <a:r>
              <a:rPr lang="en-US" altLang="en-US" sz="1000" err="1">
                <a:latin typeface="Verdana"/>
                <a:ea typeface="Verdana"/>
              </a:rPr>
              <a:t>NodeJs</a:t>
            </a:r>
            <a:endParaRPr lang="en-US" altLang="en-US" sz="1000" err="1">
              <a:ea typeface="Verdana"/>
            </a:endParaRPr>
          </a:p>
          <a:p>
            <a:pPr>
              <a:lnSpc>
                <a:spcPct val="113999"/>
              </a:lnSpc>
            </a:pPr>
            <a:endParaRPr lang="en-US" altLang="nl-NL" sz="1000" b="1">
              <a:solidFill>
                <a:srgbClr val="0070AD"/>
              </a:solidFill>
              <a:latin typeface="Verdana"/>
              <a:ea typeface="Verdana"/>
            </a:endParaRPr>
          </a:p>
          <a:p>
            <a:pPr>
              <a:lnSpc>
                <a:spcPct val="113999"/>
              </a:lnSpc>
            </a:pPr>
            <a:r>
              <a:rPr lang="en-US" altLang="nl-NL" sz="1000" b="1">
                <a:solidFill>
                  <a:srgbClr val="0070AD"/>
                </a:solidFill>
                <a:latin typeface="Verdana"/>
                <a:ea typeface="Verdana"/>
              </a:rPr>
              <a:t>MERN Stack</a:t>
            </a:r>
            <a:endParaRPr lang="en-US" altLang="nl-NL" sz="1000">
              <a:solidFill>
                <a:srgbClr val="000000"/>
              </a:solidFill>
              <a:latin typeface="Verdana"/>
              <a:ea typeface="Verdana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React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SQL database – SQL,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Web Technologies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Java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AddOns</a:t>
            </a: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endParaRPr lang="en-US" altLang="nl-NL" sz="1000"/>
          </a:p>
          <a:p>
            <a:pPr eaLnBrk="1" hangingPunct="1">
              <a:lnSpc>
                <a:spcPct val="114000"/>
              </a:lnSpc>
            </a:pPr>
            <a:r>
              <a:rPr lang="en-US" altLang="nl-NL" sz="100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/>
              <a:t>Aliveluvari Sai Vamsi</a:t>
            </a:r>
            <a:endParaRPr lang="en-IN" altLang="en-US"/>
          </a:p>
        </p:txBody>
      </p:sp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4988" y="6402388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endParaRPr lang="en-IN" altLang="en-US" sz="1100" dirty="0"/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4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1287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Props1.xml><?xml version="1.0" encoding="utf-8"?>
<ds:datastoreItem xmlns:ds="http://schemas.openxmlformats.org/officeDocument/2006/customXml" ds:itemID="{4810C70A-0B6A-45BE-9501-CE394601840E}">
  <ds:schemaRefs>
    <ds:schemaRef ds:uri="900c2a09-0d28-449b-b8ad-3e76d664ec44"/>
    <ds:schemaRef ds:uri="e0ffb6ef-0000-48aa-9041-fb29fcb198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900c2a09-0d28-449b-b8ad-3e76d664ec44"/>
    <ds:schemaRef ds:uri="e0ffb6ef-0000-48aa-9041-fb29fcb198e5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0</TotalTime>
  <Words>283</Words>
  <Application>Microsoft Office PowerPoint</Application>
  <PresentationFormat>Widescreen</PresentationFormat>
  <Paragraphs>7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., Aliveluvari Sai Vamsi</cp:lastModifiedBy>
  <cp:revision>2</cp:revision>
  <dcterms:created xsi:type="dcterms:W3CDTF">2017-12-08T05:27:40Z</dcterms:created>
  <dcterms:modified xsi:type="dcterms:W3CDTF">2022-09-27T06:3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